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0" r:id="rId1"/>
  </p:sldMasterIdLst>
  <p:notesMasterIdLst>
    <p:notesMasterId r:id="rId3"/>
  </p:notesMasterIdLst>
  <p:sldIdLst>
    <p:sldId id="257" r:id="rId2"/>
  </p:sldIdLst>
  <p:sldSz cx="11879263" cy="1818005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838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11" autoAdjust="0"/>
    <p:restoredTop sz="94643"/>
  </p:normalViewPr>
  <p:slideViewPr>
    <p:cSldViewPr snapToGrid="0" snapToObjects="1">
      <p:cViewPr varScale="1">
        <p:scale>
          <a:sx n="40" d="100"/>
          <a:sy n="40" d="100"/>
        </p:scale>
        <p:origin x="256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5C8E34-C958-47BA-A831-759C42B34C93}" type="datetimeFigureOut">
              <a:rPr lang="en-GB" smtClean="0"/>
              <a:t>19/1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420938" y="1143000"/>
            <a:ext cx="2016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9F823-8DCC-4F5D-8737-63D0EDC330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637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E9F823-8DCC-4F5D-8737-63D0EDC3309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2606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0945" y="2975301"/>
            <a:ext cx="10097374" cy="6329351"/>
          </a:xfrm>
        </p:spPr>
        <p:txBody>
          <a:bodyPr anchor="b"/>
          <a:lstStyle>
            <a:lvl1pPr algn="ctr">
              <a:defRPr sz="779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4908" y="9548736"/>
            <a:ext cx="8909447" cy="4389302"/>
          </a:xfrm>
        </p:spPr>
        <p:txBody>
          <a:bodyPr/>
          <a:lstStyle>
            <a:lvl1pPr marL="0" indent="0" algn="ctr">
              <a:buNone/>
              <a:defRPr sz="3118"/>
            </a:lvl1pPr>
            <a:lvl2pPr marL="593949" indent="0" algn="ctr">
              <a:buNone/>
              <a:defRPr sz="2598"/>
            </a:lvl2pPr>
            <a:lvl3pPr marL="1187897" indent="0" algn="ctr">
              <a:buNone/>
              <a:defRPr sz="2338"/>
            </a:lvl3pPr>
            <a:lvl4pPr marL="1781846" indent="0" algn="ctr">
              <a:buNone/>
              <a:defRPr sz="2079"/>
            </a:lvl4pPr>
            <a:lvl5pPr marL="2375794" indent="0" algn="ctr">
              <a:buNone/>
              <a:defRPr sz="2079"/>
            </a:lvl5pPr>
            <a:lvl6pPr marL="2969743" indent="0" algn="ctr">
              <a:buNone/>
              <a:defRPr sz="2079"/>
            </a:lvl6pPr>
            <a:lvl7pPr marL="3563691" indent="0" algn="ctr">
              <a:buNone/>
              <a:defRPr sz="2079"/>
            </a:lvl7pPr>
            <a:lvl8pPr marL="4157640" indent="0" algn="ctr">
              <a:buNone/>
              <a:defRPr sz="2079"/>
            </a:lvl8pPr>
            <a:lvl9pPr marL="4751588" indent="0" algn="ctr">
              <a:buNone/>
              <a:defRPr sz="207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791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7097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01098" y="967919"/>
            <a:ext cx="2561466" cy="1540675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6700" y="967919"/>
            <a:ext cx="7535907" cy="1540675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559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4748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513" y="4532393"/>
            <a:ext cx="10245864" cy="7562394"/>
          </a:xfrm>
        </p:spPr>
        <p:txBody>
          <a:bodyPr anchor="b"/>
          <a:lstStyle>
            <a:lvl1pPr>
              <a:defRPr sz="779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513" y="12166330"/>
            <a:ext cx="10245864" cy="3976885"/>
          </a:xfrm>
        </p:spPr>
        <p:txBody>
          <a:bodyPr/>
          <a:lstStyle>
            <a:lvl1pPr marL="0" indent="0">
              <a:buNone/>
              <a:defRPr sz="3118">
                <a:solidFill>
                  <a:schemeClr val="tx1"/>
                </a:solidFill>
              </a:defRPr>
            </a:lvl1pPr>
            <a:lvl2pPr marL="593949" indent="0">
              <a:buNone/>
              <a:defRPr sz="2598">
                <a:solidFill>
                  <a:schemeClr val="tx1">
                    <a:tint val="75000"/>
                  </a:schemeClr>
                </a:solidFill>
              </a:defRPr>
            </a:lvl2pPr>
            <a:lvl3pPr marL="1187897" indent="0">
              <a:buNone/>
              <a:defRPr sz="2338">
                <a:solidFill>
                  <a:schemeClr val="tx1">
                    <a:tint val="75000"/>
                  </a:schemeClr>
                </a:solidFill>
              </a:defRPr>
            </a:lvl3pPr>
            <a:lvl4pPr marL="1781846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4pPr>
            <a:lvl5pPr marL="2375794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5pPr>
            <a:lvl6pPr marL="2969743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6pPr>
            <a:lvl7pPr marL="3563691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7pPr>
            <a:lvl8pPr marL="4157640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8pPr>
            <a:lvl9pPr marL="4751588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671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699" y="4839597"/>
            <a:ext cx="5048687" cy="1153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3877" y="4839597"/>
            <a:ext cx="5048687" cy="1153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0510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247" y="967923"/>
            <a:ext cx="10245864" cy="35139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8248" y="4456638"/>
            <a:ext cx="5025484" cy="2184130"/>
          </a:xfrm>
        </p:spPr>
        <p:txBody>
          <a:bodyPr anchor="b"/>
          <a:lstStyle>
            <a:lvl1pPr marL="0" indent="0">
              <a:buNone/>
              <a:defRPr sz="3118" b="1"/>
            </a:lvl1pPr>
            <a:lvl2pPr marL="593949" indent="0">
              <a:buNone/>
              <a:defRPr sz="2598" b="1"/>
            </a:lvl2pPr>
            <a:lvl3pPr marL="1187897" indent="0">
              <a:buNone/>
              <a:defRPr sz="2338" b="1"/>
            </a:lvl3pPr>
            <a:lvl4pPr marL="1781846" indent="0">
              <a:buNone/>
              <a:defRPr sz="2079" b="1"/>
            </a:lvl4pPr>
            <a:lvl5pPr marL="2375794" indent="0">
              <a:buNone/>
              <a:defRPr sz="2079" b="1"/>
            </a:lvl5pPr>
            <a:lvl6pPr marL="2969743" indent="0">
              <a:buNone/>
              <a:defRPr sz="2079" b="1"/>
            </a:lvl6pPr>
            <a:lvl7pPr marL="3563691" indent="0">
              <a:buNone/>
              <a:defRPr sz="2079" b="1"/>
            </a:lvl7pPr>
            <a:lvl8pPr marL="4157640" indent="0">
              <a:buNone/>
              <a:defRPr sz="2079" b="1"/>
            </a:lvl8pPr>
            <a:lvl9pPr marL="4751588" indent="0">
              <a:buNone/>
              <a:defRPr sz="207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8248" y="6640768"/>
            <a:ext cx="5025484" cy="9767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13878" y="4456638"/>
            <a:ext cx="5050234" cy="2184130"/>
          </a:xfrm>
        </p:spPr>
        <p:txBody>
          <a:bodyPr anchor="b"/>
          <a:lstStyle>
            <a:lvl1pPr marL="0" indent="0">
              <a:buNone/>
              <a:defRPr sz="3118" b="1"/>
            </a:lvl1pPr>
            <a:lvl2pPr marL="593949" indent="0">
              <a:buNone/>
              <a:defRPr sz="2598" b="1"/>
            </a:lvl2pPr>
            <a:lvl3pPr marL="1187897" indent="0">
              <a:buNone/>
              <a:defRPr sz="2338" b="1"/>
            </a:lvl3pPr>
            <a:lvl4pPr marL="1781846" indent="0">
              <a:buNone/>
              <a:defRPr sz="2079" b="1"/>
            </a:lvl4pPr>
            <a:lvl5pPr marL="2375794" indent="0">
              <a:buNone/>
              <a:defRPr sz="2079" b="1"/>
            </a:lvl5pPr>
            <a:lvl6pPr marL="2969743" indent="0">
              <a:buNone/>
              <a:defRPr sz="2079" b="1"/>
            </a:lvl6pPr>
            <a:lvl7pPr marL="3563691" indent="0">
              <a:buNone/>
              <a:defRPr sz="2079" b="1"/>
            </a:lvl7pPr>
            <a:lvl8pPr marL="4157640" indent="0">
              <a:buNone/>
              <a:defRPr sz="2079" b="1"/>
            </a:lvl8pPr>
            <a:lvl9pPr marL="4751588" indent="0">
              <a:buNone/>
              <a:defRPr sz="207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13878" y="6640768"/>
            <a:ext cx="5050234" cy="9767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231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280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578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246" y="1212003"/>
            <a:ext cx="3831372" cy="4242012"/>
          </a:xfrm>
        </p:spPr>
        <p:txBody>
          <a:bodyPr anchor="b"/>
          <a:lstStyle>
            <a:lvl1pPr>
              <a:defRPr sz="415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0234" y="2617594"/>
            <a:ext cx="6013877" cy="12919619"/>
          </a:xfrm>
        </p:spPr>
        <p:txBody>
          <a:bodyPr/>
          <a:lstStyle>
            <a:lvl1pPr>
              <a:defRPr sz="4157"/>
            </a:lvl1pPr>
            <a:lvl2pPr>
              <a:defRPr sz="3637"/>
            </a:lvl2pPr>
            <a:lvl3pPr>
              <a:defRPr sz="3118"/>
            </a:lvl3pPr>
            <a:lvl4pPr>
              <a:defRPr sz="2598"/>
            </a:lvl4pPr>
            <a:lvl5pPr>
              <a:defRPr sz="2598"/>
            </a:lvl5pPr>
            <a:lvl6pPr>
              <a:defRPr sz="2598"/>
            </a:lvl6pPr>
            <a:lvl7pPr>
              <a:defRPr sz="2598"/>
            </a:lvl7pPr>
            <a:lvl8pPr>
              <a:defRPr sz="2598"/>
            </a:lvl8pPr>
            <a:lvl9pPr>
              <a:defRPr sz="25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8246" y="5454015"/>
            <a:ext cx="3831372" cy="10104237"/>
          </a:xfrm>
        </p:spPr>
        <p:txBody>
          <a:bodyPr/>
          <a:lstStyle>
            <a:lvl1pPr marL="0" indent="0">
              <a:buNone/>
              <a:defRPr sz="2079"/>
            </a:lvl1pPr>
            <a:lvl2pPr marL="593949" indent="0">
              <a:buNone/>
              <a:defRPr sz="1819"/>
            </a:lvl2pPr>
            <a:lvl3pPr marL="1187897" indent="0">
              <a:buNone/>
              <a:defRPr sz="1559"/>
            </a:lvl3pPr>
            <a:lvl4pPr marL="1781846" indent="0">
              <a:buNone/>
              <a:defRPr sz="1299"/>
            </a:lvl4pPr>
            <a:lvl5pPr marL="2375794" indent="0">
              <a:buNone/>
              <a:defRPr sz="1299"/>
            </a:lvl5pPr>
            <a:lvl6pPr marL="2969743" indent="0">
              <a:buNone/>
              <a:defRPr sz="1299"/>
            </a:lvl6pPr>
            <a:lvl7pPr marL="3563691" indent="0">
              <a:buNone/>
              <a:defRPr sz="1299"/>
            </a:lvl7pPr>
            <a:lvl8pPr marL="4157640" indent="0">
              <a:buNone/>
              <a:defRPr sz="1299"/>
            </a:lvl8pPr>
            <a:lvl9pPr marL="4751588" indent="0">
              <a:buNone/>
              <a:defRPr sz="129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8764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246" y="1212003"/>
            <a:ext cx="3831372" cy="4242012"/>
          </a:xfrm>
        </p:spPr>
        <p:txBody>
          <a:bodyPr anchor="b"/>
          <a:lstStyle>
            <a:lvl1pPr>
              <a:defRPr sz="415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50234" y="2617594"/>
            <a:ext cx="6013877" cy="12919619"/>
          </a:xfrm>
        </p:spPr>
        <p:txBody>
          <a:bodyPr anchor="t"/>
          <a:lstStyle>
            <a:lvl1pPr marL="0" indent="0">
              <a:buNone/>
              <a:defRPr sz="4157"/>
            </a:lvl1pPr>
            <a:lvl2pPr marL="593949" indent="0">
              <a:buNone/>
              <a:defRPr sz="3637"/>
            </a:lvl2pPr>
            <a:lvl3pPr marL="1187897" indent="0">
              <a:buNone/>
              <a:defRPr sz="3118"/>
            </a:lvl3pPr>
            <a:lvl4pPr marL="1781846" indent="0">
              <a:buNone/>
              <a:defRPr sz="2598"/>
            </a:lvl4pPr>
            <a:lvl5pPr marL="2375794" indent="0">
              <a:buNone/>
              <a:defRPr sz="2598"/>
            </a:lvl5pPr>
            <a:lvl6pPr marL="2969743" indent="0">
              <a:buNone/>
              <a:defRPr sz="2598"/>
            </a:lvl6pPr>
            <a:lvl7pPr marL="3563691" indent="0">
              <a:buNone/>
              <a:defRPr sz="2598"/>
            </a:lvl7pPr>
            <a:lvl8pPr marL="4157640" indent="0">
              <a:buNone/>
              <a:defRPr sz="2598"/>
            </a:lvl8pPr>
            <a:lvl9pPr marL="4751588" indent="0">
              <a:buNone/>
              <a:defRPr sz="2598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8246" y="5454015"/>
            <a:ext cx="3831372" cy="10104237"/>
          </a:xfrm>
        </p:spPr>
        <p:txBody>
          <a:bodyPr/>
          <a:lstStyle>
            <a:lvl1pPr marL="0" indent="0">
              <a:buNone/>
              <a:defRPr sz="2079"/>
            </a:lvl1pPr>
            <a:lvl2pPr marL="593949" indent="0">
              <a:buNone/>
              <a:defRPr sz="1819"/>
            </a:lvl2pPr>
            <a:lvl3pPr marL="1187897" indent="0">
              <a:buNone/>
              <a:defRPr sz="1559"/>
            </a:lvl3pPr>
            <a:lvl4pPr marL="1781846" indent="0">
              <a:buNone/>
              <a:defRPr sz="1299"/>
            </a:lvl4pPr>
            <a:lvl5pPr marL="2375794" indent="0">
              <a:buNone/>
              <a:defRPr sz="1299"/>
            </a:lvl5pPr>
            <a:lvl6pPr marL="2969743" indent="0">
              <a:buNone/>
              <a:defRPr sz="1299"/>
            </a:lvl6pPr>
            <a:lvl7pPr marL="3563691" indent="0">
              <a:buNone/>
              <a:defRPr sz="1299"/>
            </a:lvl7pPr>
            <a:lvl8pPr marL="4157640" indent="0">
              <a:buNone/>
              <a:defRPr sz="1299"/>
            </a:lvl8pPr>
            <a:lvl9pPr marL="4751588" indent="0">
              <a:buNone/>
              <a:defRPr sz="129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76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6700" y="967923"/>
            <a:ext cx="10245864" cy="35139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6700" y="4839597"/>
            <a:ext cx="10245864" cy="11535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6699" y="16850217"/>
            <a:ext cx="2672834" cy="9679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5006" y="16850217"/>
            <a:ext cx="4009251" cy="9679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9730" y="16850217"/>
            <a:ext cx="2672834" cy="9679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569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1187897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74" indent="-296974" algn="l" defTabSz="1187897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7" kern="1200">
          <a:solidFill>
            <a:schemeClr val="tx1"/>
          </a:solidFill>
          <a:latin typeface="+mn-lt"/>
          <a:ea typeface="+mn-ea"/>
          <a:cs typeface="+mn-cs"/>
        </a:defRPr>
      </a:lvl1pPr>
      <a:lvl2pPr marL="890923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871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820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768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717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665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614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562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49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897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846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794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743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691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640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588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8334254" y="-888004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8334254" y="-888004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133ABD3-3C74-4F2E-B2AC-4511A65A3F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1879263" cy="383536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1BEA229-C803-4B42-AE98-65820CDAA2A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156" y="4012521"/>
            <a:ext cx="11879263" cy="46204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72DAF68-0A5C-4C42-8605-B5FDC501EA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1" y="8810159"/>
            <a:ext cx="11879263" cy="388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436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89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i Tanaka</dc:creator>
  <cp:lastModifiedBy>Kutluay, Y.M. (Mehmet)</cp:lastModifiedBy>
  <cp:revision>29</cp:revision>
  <dcterms:created xsi:type="dcterms:W3CDTF">2018-03-31T22:20:45Z</dcterms:created>
  <dcterms:modified xsi:type="dcterms:W3CDTF">2019-12-19T16:16:21Z</dcterms:modified>
</cp:coreProperties>
</file>